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0"/>
    <p:restoredTop sz="94635"/>
  </p:normalViewPr>
  <p:slideViewPr>
    <p:cSldViewPr snapToGrid="0" snapToObjects="1">
      <p:cViewPr varScale="1">
        <p:scale>
          <a:sx n="111" d="100"/>
          <a:sy n="111" d="100"/>
        </p:scale>
        <p:origin x="6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1300785"/>
            <a:ext cx="8689976" cy="250921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89976" cy="1371599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4289374"/>
            <a:ext cx="10364432" cy="8116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4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5108728"/>
            <a:ext cx="10364452" cy="682472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599"/>
            <a:ext cx="10364452" cy="342724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9478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4372796"/>
            <a:ext cx="10364452" cy="142105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001488" y="75416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57558" y="29935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1"/>
            <a:ext cx="10364452" cy="251183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10364452" cy="160509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4" y="2367093"/>
            <a:ext cx="329897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4" y="2943355"/>
            <a:ext cx="3298976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89" y="2367093"/>
            <a:ext cx="329152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48" y="2943355"/>
            <a:ext cx="3303351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367093"/>
            <a:ext cx="33049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8" y="2943355"/>
            <a:ext cx="3304928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4" y="610772"/>
            <a:ext cx="10364452" cy="160392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4" y="4204820"/>
            <a:ext cx="3296409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4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4" y="4781082"/>
            <a:ext cx="3296409" cy="101011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0"/>
            <a:ext cx="3303352" cy="101011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4204820"/>
            <a:ext cx="330068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8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3" y="4781078"/>
            <a:ext cx="3305053" cy="10101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3"/>
            <a:ext cx="10364452" cy="342410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601"/>
            <a:ext cx="2553326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1"/>
            <a:ext cx="7658724" cy="518159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828563"/>
            <a:ext cx="10351752" cy="2736819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13681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5106026" cy="342410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2"/>
            <a:ext cx="5105400" cy="342410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4" y="3051012"/>
            <a:ext cx="5106027" cy="27401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0" y="3051012"/>
            <a:ext cx="5105401" cy="27401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2" y="609600"/>
            <a:ext cx="6200163" cy="518159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2632852"/>
            <a:ext cx="3935689" cy="3158348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5934969" cy="2023254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8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632852"/>
            <a:ext cx="5934949" cy="3158347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5/1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A1D39A-9A3D-DE4C-9B1D-815371238A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979510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722AACE-DACF-564D-B416-23215E759936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0" i="0" baseline="0" dirty="0">
              <a:latin typeface="Tw Cen MT" panose="020B0602020104020603" pitchFamily="34" charset="77"/>
              <a:ea typeface="+mj-ea"/>
              <a:sym typeface="Tw Cen MT" panose="020B0602020104020603" pitchFamily="34" charset="77"/>
            </a:endParaRPr>
          </a:p>
        </p:txBody>
      </p:sp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5" y="2367093"/>
            <a:ext cx="10364452" cy="34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5/1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64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6" r:id="rId12"/>
    <p:sldLayoutId id="2147483663" r:id="rId13"/>
    <p:sldLayoutId id="2147483667" r:id="rId14"/>
    <p:sldLayoutId id="2147483668" r:id="rId15"/>
    <p:sldLayoutId id="2147483658" r:id="rId16"/>
    <p:sldLayoutId id="2147483659" r:id="rId17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7120DC-DF03-2940-8751-2D378EAE70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6333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40DEB63-E46F-954A-9F1B-240DE631DA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4800" dirty="0">
              <a:latin typeface="Tw Cen MT" panose="020B0602020104020603" pitchFamily="34" charset="77"/>
              <a:ea typeface="+mj-ea"/>
              <a:sym typeface="Tw Cen MT" panose="020B0602020104020603" pitchFamily="34" charset="7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6635E-E0DF-B548-B13B-2B0B4D5C49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ase study of FDA Da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D52312-A2D2-6B47-B4BC-5F25587FAA9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Prepared for </a:t>
            </a:r>
            <a:r>
              <a:rPr lang="en-GB" dirty="0" err="1"/>
              <a:t>AstraZenica</a:t>
            </a:r>
            <a:r>
              <a:rPr lang="en-GB" dirty="0"/>
              <a:t> Technical Interview</a:t>
            </a:r>
          </a:p>
          <a:p>
            <a:r>
              <a:rPr lang="en-GB" dirty="0"/>
              <a:t>By Bhima </a:t>
            </a:r>
            <a:r>
              <a:rPr lang="en-GB" dirty="0" err="1"/>
              <a:t>Aur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899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3CBC43-C78B-1444-88AE-5FAE42F9F9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567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684C44-D187-AF4C-8A3C-40CDD2777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806CF9-6B08-174B-8595-B8CE44A9E4D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/>
              <a:t>Present findings of interest in the Open-FDA Data set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6962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6FC3A5-EF47-7449-99D5-793C0C0745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3988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93DECA-9007-704D-90F8-EF80FF55E6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FD69D6-5556-7F4B-B9CF-E9B3311AAB1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/>
              <a:t>Examine the data</a:t>
            </a:r>
          </a:p>
          <a:p>
            <a:r>
              <a:rPr lang="en-GB" dirty="0"/>
              <a:t>Determine How to work with </a:t>
            </a:r>
            <a:r>
              <a:rPr lang="en-GB" dirty="0" err="1"/>
              <a:t>DaTA</a:t>
            </a:r>
            <a:endParaRPr lang="en-GB" dirty="0"/>
          </a:p>
          <a:p>
            <a:r>
              <a:rPr lang="en-GB" dirty="0"/>
              <a:t>Sample  data and study/explore how to address case study question:</a:t>
            </a:r>
          </a:p>
          <a:p>
            <a:pPr marL="0" indent="0">
              <a:buNone/>
            </a:pPr>
            <a:r>
              <a:rPr lang="en-GB" dirty="0"/>
              <a:t>	“Are different adverse events reported in different countries?” </a:t>
            </a:r>
          </a:p>
          <a:p>
            <a:pPr marL="0" indent="0">
              <a:buNone/>
            </a:pPr>
            <a:r>
              <a:rPr lang="en-GB" dirty="0"/>
              <a:t>	and</a:t>
            </a:r>
          </a:p>
          <a:p>
            <a:pPr marL="0" indent="0">
              <a:buNone/>
            </a:pPr>
            <a:r>
              <a:rPr lang="en-GB" dirty="0"/>
              <a:t>	“HOW Many drugs have the same adverse events?”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47776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6C122FA-AA8C-8F4C-BF31-59198CB0D8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621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8F88D4-1720-7C48-94C9-7822F6D8E4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1943" y="1468002"/>
            <a:ext cx="3296409" cy="576262"/>
          </a:xfrm>
        </p:spPr>
        <p:txBody>
          <a:bodyPr/>
          <a:lstStyle/>
          <a:p>
            <a:r>
              <a:rPr lang="en-GB" sz="1600" dirty="0"/>
              <a:t>Technic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EE75AA-F579-9C4C-8924-11CFDC81AEA9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4423458" y="2044264"/>
            <a:ext cx="3727673" cy="3141194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Locate data and data documentation 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Download data and write python code to load into Postgres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Make a selection of relevant columns/information and build a data set to explore. 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Explore the data set, to answer the questions on the previous slide. 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endParaRPr lang="en-GB" sz="1200" cap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0C8AE8E-35C5-ED41-9AC3-398BE8DBB5E6}"/>
              </a:ext>
            </a:extLst>
          </p:cNvPr>
          <p:cNvSpPr>
            <a:spLocks noGrp="1"/>
          </p:cNvSpPr>
          <p:nvPr>
            <p:ph type="body" sz="half" idx="19"/>
          </p:nvPr>
        </p:nvSpPr>
        <p:spPr>
          <a:xfrm>
            <a:off x="8022492" y="1672542"/>
            <a:ext cx="3303352" cy="1010119"/>
          </a:xfrm>
        </p:spPr>
        <p:txBody>
          <a:bodyPr/>
          <a:lstStyle/>
          <a:p>
            <a:r>
              <a:rPr lang="en-GB" dirty="0"/>
              <a:t>Challeng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F94D14C-DC59-FB44-AD6A-88FCD2562619}"/>
              </a:ext>
            </a:extLst>
          </p:cNvPr>
          <p:cNvSpPr txBox="1">
            <a:spLocks/>
          </p:cNvSpPr>
          <p:nvPr/>
        </p:nvSpPr>
        <p:spPr>
          <a:xfrm>
            <a:off x="3958352" y="1468002"/>
            <a:ext cx="3296409" cy="5762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ctr" defTabSz="914400" rtl="0" eaLnBrk="1" latinLnBrk="0" hangingPunct="1">
              <a:lnSpc>
                <a:spcPct val="85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defRPr sz="2200" b="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b="1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/>
              <a:t>Step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7808822-12E4-334A-B58C-DC3A2769E5D7}"/>
              </a:ext>
            </a:extLst>
          </p:cNvPr>
          <p:cNvSpPr txBox="1">
            <a:spLocks/>
          </p:cNvSpPr>
          <p:nvPr/>
        </p:nvSpPr>
        <p:spPr>
          <a:xfrm>
            <a:off x="695785" y="2196665"/>
            <a:ext cx="3727673" cy="31411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4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0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Data is in available from API or downloadable JSON. (A CSV version exists from a 3</a:t>
            </a:r>
            <a:r>
              <a:rPr lang="en-GB" sz="1200" cap="none" baseline="30000" dirty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 party)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Downloaded JSON is multi-layered and is cumbersome to load into python. 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All the data is very large and either small samples in pandas can be examined or a a larger set in a database.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Loading the json directly to SQL is not straightforward.  For future work, MongoDB or </a:t>
            </a:r>
            <a:r>
              <a:rPr lang="en-GB" sz="1200" cap="none" dirty="0" err="1">
                <a:latin typeface="Arial" panose="020B0604020202020204" pitchFamily="34" charset="0"/>
                <a:cs typeface="Arial" panose="020B0604020202020204" pitchFamily="34" charset="0"/>
              </a:rPr>
              <a:t>ElasticSearch</a:t>
            </a: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 are candidate data stores to explore.</a:t>
            </a:r>
          </a:p>
          <a:p>
            <a:pPr marL="285750" indent="-2857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Given available resources, the choice was made to use Python in a </a:t>
            </a:r>
            <a:r>
              <a:rPr lang="en-GB" sz="1200" cap="none" dirty="0" err="1">
                <a:latin typeface="Arial" panose="020B0604020202020204" pitchFamily="34" charset="0"/>
                <a:cs typeface="Arial" panose="020B0604020202020204" pitchFamily="34" charset="0"/>
              </a:rPr>
              <a:t>Jupyter</a:t>
            </a: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 notebook and a local install of Postgres for a data-store and data selection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23378B-7649-D84D-899E-07C6E99E41D9}"/>
              </a:ext>
            </a:extLst>
          </p:cNvPr>
          <p:cNvSpPr txBox="1">
            <a:spLocks/>
          </p:cNvSpPr>
          <p:nvPr/>
        </p:nvSpPr>
        <p:spPr>
          <a:xfrm>
            <a:off x="8151131" y="2044264"/>
            <a:ext cx="3727673" cy="31411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4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0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9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Large data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Limited compute resources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Complex relationships between entitles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A lot of text in the data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Inconsistencies in the data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Missing values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Time constraints limiting exploration of technology choices for data storage, e.g. MongoDB, </a:t>
            </a:r>
            <a:r>
              <a:rPr lang="en-GB" sz="1200" cap="none" dirty="0" err="1">
                <a:latin typeface="Arial" panose="020B0604020202020204" pitchFamily="34" charset="0"/>
                <a:cs typeface="Arial" panose="020B0604020202020204" pitchFamily="34" charset="0"/>
              </a:rPr>
              <a:t>ElasticSearch</a:t>
            </a:r>
            <a:r>
              <a:rPr lang="en-GB" sz="1200" cap="none" dirty="0">
                <a:latin typeface="Arial" panose="020B0604020202020204" pitchFamily="34" charset="0"/>
                <a:cs typeface="Arial" panose="020B0604020202020204" pitchFamily="34" charset="0"/>
              </a:rPr>
              <a:t> and/or some type of graph storage. </a:t>
            </a: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endParaRPr lang="en-GB" sz="12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endParaRPr lang="en-GB" sz="12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lnSpc>
                <a:spcPct val="100000"/>
              </a:lnSpc>
              <a:buFont typeface="+mj-lt"/>
              <a:buAutoNum type="arabicPeriod"/>
            </a:pPr>
            <a:endParaRPr lang="en-GB" sz="1200" cap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281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iley Face 1">
            <a:extLst>
              <a:ext uri="{FF2B5EF4-FFF2-40B4-BE49-F238E27FC236}">
                <a16:creationId xmlns:a16="http://schemas.microsoft.com/office/drawing/2014/main" id="{45C281FD-71CA-A145-AFEC-4F8C1D85EC26}"/>
              </a:ext>
            </a:extLst>
          </p:cNvPr>
          <p:cNvSpPr/>
          <p:nvPr/>
        </p:nvSpPr>
        <p:spPr>
          <a:xfrm>
            <a:off x="5638800" y="4088228"/>
            <a:ext cx="914400" cy="91440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55C11D-5819-8845-84DB-5D1186199DCF}"/>
              </a:ext>
            </a:extLst>
          </p:cNvPr>
          <p:cNvSpPr txBox="1"/>
          <p:nvPr/>
        </p:nvSpPr>
        <p:spPr>
          <a:xfrm>
            <a:off x="5528580" y="5118374"/>
            <a:ext cx="1009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 Patient</a:t>
            </a: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2EFAD73-3BF2-AF48-86CB-A34306DEE91E}"/>
              </a:ext>
            </a:extLst>
          </p:cNvPr>
          <p:cNvSpPr/>
          <p:nvPr/>
        </p:nvSpPr>
        <p:spPr>
          <a:xfrm>
            <a:off x="3337963" y="3429000"/>
            <a:ext cx="872984" cy="62450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AF9621-18D7-9842-B28E-0CF01562D846}"/>
              </a:ext>
            </a:extLst>
          </p:cNvPr>
          <p:cNvSpPr txBox="1"/>
          <p:nvPr/>
        </p:nvSpPr>
        <p:spPr>
          <a:xfrm>
            <a:off x="3176001" y="4017720"/>
            <a:ext cx="1030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Reaction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1AFE866-FD1C-2A4C-A613-7C6FCAEA582A}"/>
              </a:ext>
            </a:extLst>
          </p:cNvPr>
          <p:cNvCxnSpPr>
            <a:cxnSpLocks/>
            <a:stCxn id="2" idx="2"/>
            <a:endCxn id="4" idx="4"/>
          </p:cNvCxnSpPr>
          <p:nvPr/>
        </p:nvCxnSpPr>
        <p:spPr>
          <a:xfrm flipH="1" flipV="1">
            <a:off x="4210947" y="4053503"/>
            <a:ext cx="1427853" cy="4919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17DAFCE-D871-6D40-9A09-832A2E8BCA49}"/>
              </a:ext>
            </a:extLst>
          </p:cNvPr>
          <p:cNvSpPr txBox="1"/>
          <p:nvPr/>
        </p:nvSpPr>
        <p:spPr>
          <a:xfrm>
            <a:off x="4519393" y="3833054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14B964C-A342-2948-9C79-2497F90405C6}"/>
              </a:ext>
            </a:extLst>
          </p:cNvPr>
          <p:cNvSpPr/>
          <p:nvPr/>
        </p:nvSpPr>
        <p:spPr>
          <a:xfrm>
            <a:off x="7456034" y="4143724"/>
            <a:ext cx="694481" cy="33460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7C7DEB8-F82B-484A-A354-4FCBBE501861}"/>
              </a:ext>
            </a:extLst>
          </p:cNvPr>
          <p:cNvCxnSpPr>
            <a:cxnSpLocks/>
            <a:stCxn id="2" idx="6"/>
            <a:endCxn id="10" idx="2"/>
          </p:cNvCxnSpPr>
          <p:nvPr/>
        </p:nvCxnSpPr>
        <p:spPr>
          <a:xfrm flipV="1">
            <a:off x="6553200" y="4311027"/>
            <a:ext cx="902834" cy="2344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6A8C344-E163-664A-B96E-56E7508B80C7}"/>
              </a:ext>
            </a:extLst>
          </p:cNvPr>
          <p:cNvSpPr txBox="1"/>
          <p:nvPr/>
        </p:nvSpPr>
        <p:spPr>
          <a:xfrm>
            <a:off x="6630816" y="4425523"/>
            <a:ext cx="946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s tak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F0BC68-1430-F047-AB8C-02B6BDA013CB}"/>
              </a:ext>
            </a:extLst>
          </p:cNvPr>
          <p:cNvSpPr txBox="1"/>
          <p:nvPr/>
        </p:nvSpPr>
        <p:spPr>
          <a:xfrm>
            <a:off x="7474927" y="4126361"/>
            <a:ext cx="7102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Drugs</a:t>
            </a:r>
          </a:p>
        </p:txBody>
      </p:sp>
      <p:sp>
        <p:nvSpPr>
          <p:cNvPr id="20" name="Lightning Bolt 19">
            <a:extLst>
              <a:ext uri="{FF2B5EF4-FFF2-40B4-BE49-F238E27FC236}">
                <a16:creationId xmlns:a16="http://schemas.microsoft.com/office/drawing/2014/main" id="{67E2368C-41BC-CB4E-AFB5-18941BA40020}"/>
              </a:ext>
            </a:extLst>
          </p:cNvPr>
          <p:cNvSpPr/>
          <p:nvPr/>
        </p:nvSpPr>
        <p:spPr>
          <a:xfrm>
            <a:off x="5804390" y="1644014"/>
            <a:ext cx="914400" cy="91440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10DD371-E865-9643-8416-BB2F727207B1}"/>
              </a:ext>
            </a:extLst>
          </p:cNvPr>
          <p:cNvSpPr txBox="1"/>
          <p:nvPr/>
        </p:nvSpPr>
        <p:spPr>
          <a:xfrm>
            <a:off x="5804390" y="1274682"/>
            <a:ext cx="660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Event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D9F60B6-DFBE-B243-A2D2-4B240CDF5B01}"/>
              </a:ext>
            </a:extLst>
          </p:cNvPr>
          <p:cNvCxnSpPr>
            <a:cxnSpLocks/>
            <a:endCxn id="2" idx="0"/>
          </p:cNvCxnSpPr>
          <p:nvPr/>
        </p:nvCxnSpPr>
        <p:spPr>
          <a:xfrm>
            <a:off x="6077270" y="2156867"/>
            <a:ext cx="18730" cy="19313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284D069B-C149-4247-A757-2E97CA8C902F}"/>
              </a:ext>
            </a:extLst>
          </p:cNvPr>
          <p:cNvSpPr txBox="1"/>
          <p:nvPr/>
        </p:nvSpPr>
        <p:spPr>
          <a:xfrm>
            <a:off x="6261590" y="3232476"/>
            <a:ext cx="12394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ppens to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9C261F2-443B-EB4D-BFA8-37956D8F62ED}"/>
              </a:ext>
            </a:extLst>
          </p:cNvPr>
          <p:cNvCxnSpPr>
            <a:cxnSpLocks/>
            <a:stCxn id="20" idx="6"/>
          </p:cNvCxnSpPr>
          <p:nvPr/>
        </p:nvCxnSpPr>
        <p:spPr>
          <a:xfrm flipV="1">
            <a:off x="6348797" y="1833690"/>
            <a:ext cx="999711" cy="677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Predefined Process 29">
            <a:extLst>
              <a:ext uri="{FF2B5EF4-FFF2-40B4-BE49-F238E27FC236}">
                <a16:creationId xmlns:a16="http://schemas.microsoft.com/office/drawing/2014/main" id="{F37DDA38-13EA-6841-9598-B5B1FAB92276}"/>
              </a:ext>
            </a:extLst>
          </p:cNvPr>
          <p:cNvSpPr/>
          <p:nvPr/>
        </p:nvSpPr>
        <p:spPr>
          <a:xfrm>
            <a:off x="7348508" y="1503510"/>
            <a:ext cx="914400" cy="612648"/>
          </a:xfrm>
          <a:prstGeom prst="flowChartPredefined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CA8B1C9-73BA-A74F-A475-D420AB20539B}"/>
              </a:ext>
            </a:extLst>
          </p:cNvPr>
          <p:cNvSpPr txBox="1"/>
          <p:nvPr/>
        </p:nvSpPr>
        <p:spPr>
          <a:xfrm>
            <a:off x="7322338" y="2068704"/>
            <a:ext cx="966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 report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FBC19E7-7B62-CC4F-B9D3-854750764670}"/>
              </a:ext>
            </a:extLst>
          </p:cNvPr>
          <p:cNvCxnSpPr>
            <a:cxnSpLocks/>
            <a:stCxn id="30" idx="3"/>
          </p:cNvCxnSpPr>
          <p:nvPr/>
        </p:nvCxnSpPr>
        <p:spPr>
          <a:xfrm>
            <a:off x="8262908" y="1809834"/>
            <a:ext cx="855693" cy="44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Horizontal Scroll 35">
            <a:extLst>
              <a:ext uri="{FF2B5EF4-FFF2-40B4-BE49-F238E27FC236}">
                <a16:creationId xmlns:a16="http://schemas.microsoft.com/office/drawing/2014/main" id="{9EF5A932-8385-454B-A94A-E2BF6D3F75E2}"/>
              </a:ext>
            </a:extLst>
          </p:cNvPr>
          <p:cNvSpPr/>
          <p:nvPr/>
        </p:nvSpPr>
        <p:spPr>
          <a:xfrm>
            <a:off x="9292242" y="1576733"/>
            <a:ext cx="837433" cy="665668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DDF6AD6-93DC-FF4A-8876-17A28D40287B}"/>
              </a:ext>
            </a:extLst>
          </p:cNvPr>
          <p:cNvSpPr txBox="1"/>
          <p:nvPr/>
        </p:nvSpPr>
        <p:spPr>
          <a:xfrm>
            <a:off x="8524542" y="1440502"/>
            <a:ext cx="603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from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E1C59B9-FA5F-F44A-9BD8-99A83590C260}"/>
              </a:ext>
            </a:extLst>
          </p:cNvPr>
          <p:cNvSpPr/>
          <p:nvPr/>
        </p:nvSpPr>
        <p:spPr>
          <a:xfrm>
            <a:off x="9196961" y="2156867"/>
            <a:ext cx="17965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In country agency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25A160D3-4641-8442-B6ED-30E309C2C825}"/>
              </a:ext>
            </a:extLst>
          </p:cNvPr>
          <p:cNvCxnSpPr>
            <a:cxnSpLocks/>
            <a:stCxn id="10" idx="7"/>
            <a:endCxn id="45" idx="1"/>
          </p:cNvCxnSpPr>
          <p:nvPr/>
        </p:nvCxnSpPr>
        <p:spPr>
          <a:xfrm flipV="1">
            <a:off x="8048811" y="3555583"/>
            <a:ext cx="1349037" cy="6371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4A64B7F4-9C75-AF44-878B-93B2782C6A5D}"/>
              </a:ext>
            </a:extLst>
          </p:cNvPr>
          <p:cNvCxnSpPr>
            <a:cxnSpLocks/>
            <a:stCxn id="10" idx="6"/>
            <a:endCxn id="46" idx="1"/>
          </p:cNvCxnSpPr>
          <p:nvPr/>
        </p:nvCxnSpPr>
        <p:spPr>
          <a:xfrm flipV="1">
            <a:off x="8150515" y="4135112"/>
            <a:ext cx="1266226" cy="1759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660DEC40-937B-8244-A8AC-5304C876F9BA}"/>
              </a:ext>
            </a:extLst>
          </p:cNvPr>
          <p:cNvSpPr/>
          <p:nvPr/>
        </p:nvSpPr>
        <p:spPr>
          <a:xfrm>
            <a:off x="9397848" y="3381065"/>
            <a:ext cx="17060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8AC18CE-B0E3-224F-8CF7-1FACBDA8A24B}"/>
              </a:ext>
            </a:extLst>
          </p:cNvPr>
          <p:cNvSpPr/>
          <p:nvPr/>
        </p:nvSpPr>
        <p:spPr>
          <a:xfrm>
            <a:off x="9416741" y="4034195"/>
            <a:ext cx="14111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86E5A89-CCD0-D146-8EF5-5C4BC6D43ACB}"/>
              </a:ext>
            </a:extLst>
          </p:cNvPr>
          <p:cNvSpPr txBox="1"/>
          <p:nvPr/>
        </p:nvSpPr>
        <p:spPr>
          <a:xfrm>
            <a:off x="9397848" y="3370917"/>
            <a:ext cx="12900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Brand nam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E705772-872A-6D44-8900-BB03782AA4E2}"/>
              </a:ext>
            </a:extLst>
          </p:cNvPr>
          <p:cNvSpPr txBox="1"/>
          <p:nvPr/>
        </p:nvSpPr>
        <p:spPr>
          <a:xfrm>
            <a:off x="9416741" y="3950446"/>
            <a:ext cx="1471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Generic nam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7F08263-3273-BA49-B288-BD33847F1894}"/>
              </a:ext>
            </a:extLst>
          </p:cNvPr>
          <p:cNvSpPr/>
          <p:nvPr/>
        </p:nvSpPr>
        <p:spPr>
          <a:xfrm>
            <a:off x="9509403" y="4832791"/>
            <a:ext cx="14111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30F7EA3-5E06-AF49-8020-AFFC57A72168}"/>
              </a:ext>
            </a:extLst>
          </p:cNvPr>
          <p:cNvSpPr txBox="1"/>
          <p:nvPr/>
        </p:nvSpPr>
        <p:spPr>
          <a:xfrm>
            <a:off x="9594736" y="4830116"/>
            <a:ext cx="907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ntents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50E0A042-5FB0-A340-AFB2-96FACE12122F}"/>
              </a:ext>
            </a:extLst>
          </p:cNvPr>
          <p:cNvCxnSpPr>
            <a:cxnSpLocks/>
            <a:stCxn id="10" idx="5"/>
            <a:endCxn id="47" idx="1"/>
          </p:cNvCxnSpPr>
          <p:nvPr/>
        </p:nvCxnSpPr>
        <p:spPr>
          <a:xfrm>
            <a:off x="8048811" y="4429328"/>
            <a:ext cx="1460592" cy="5462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041CEB8B-D531-7841-98F1-FEC16D54AF3E}"/>
              </a:ext>
            </a:extLst>
          </p:cNvPr>
          <p:cNvSpPr txBox="1"/>
          <p:nvPr/>
        </p:nvSpPr>
        <p:spPr>
          <a:xfrm>
            <a:off x="6484089" y="1472117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F7C3A19-5DCF-8E4E-B503-5762D4967C46}"/>
              </a:ext>
            </a:extLst>
          </p:cNvPr>
          <p:cNvSpPr txBox="1"/>
          <p:nvPr/>
        </p:nvSpPr>
        <p:spPr>
          <a:xfrm>
            <a:off x="8525351" y="3870568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6342EF0C-9D4F-F64C-BACD-C80EC64D043E}"/>
              </a:ext>
            </a:extLst>
          </p:cNvPr>
          <p:cNvSpPr txBox="1"/>
          <p:nvPr/>
        </p:nvSpPr>
        <p:spPr>
          <a:xfrm>
            <a:off x="2510830" y="3523856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as a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0C5B7402-F381-0744-BCFF-EAAC6F1DD141}"/>
              </a:ext>
            </a:extLst>
          </p:cNvPr>
          <p:cNvCxnSpPr>
            <a:cxnSpLocks/>
          </p:cNvCxnSpPr>
          <p:nvPr/>
        </p:nvCxnSpPr>
        <p:spPr>
          <a:xfrm flipH="1" flipV="1">
            <a:off x="2376503" y="3444774"/>
            <a:ext cx="1252346" cy="2149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FDE93C46-D104-BC44-BE0E-346CFC6051AC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2526884" y="3741252"/>
            <a:ext cx="1029325" cy="3851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642CB2BC-7E70-A34D-A941-1D0F72461339}"/>
              </a:ext>
            </a:extLst>
          </p:cNvPr>
          <p:cNvSpPr/>
          <p:nvPr/>
        </p:nvSpPr>
        <p:spPr>
          <a:xfrm>
            <a:off x="651031" y="3228125"/>
            <a:ext cx="17060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784674E-347A-9E46-BB63-DC8EF22DE1A8}"/>
              </a:ext>
            </a:extLst>
          </p:cNvPr>
          <p:cNvSpPr/>
          <p:nvPr/>
        </p:nvSpPr>
        <p:spPr>
          <a:xfrm>
            <a:off x="792430" y="4087897"/>
            <a:ext cx="1706047" cy="2855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2FE8147-8B5E-E940-8165-B8E3C3D9C505}"/>
              </a:ext>
            </a:extLst>
          </p:cNvPr>
          <p:cNvSpPr txBox="1"/>
          <p:nvPr/>
        </p:nvSpPr>
        <p:spPr>
          <a:xfrm>
            <a:off x="881818" y="4049764"/>
            <a:ext cx="998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Outcome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D1902C1-6AA8-D34C-ADCF-1C29C79FF6EE}"/>
              </a:ext>
            </a:extLst>
          </p:cNvPr>
          <p:cNvSpPr txBox="1"/>
          <p:nvPr/>
        </p:nvSpPr>
        <p:spPr>
          <a:xfrm>
            <a:off x="675395" y="3221579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Description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D567638-321A-8542-9648-1E033CE2F355}"/>
              </a:ext>
            </a:extLst>
          </p:cNvPr>
          <p:cNvSpPr txBox="1"/>
          <p:nvPr/>
        </p:nvSpPr>
        <p:spPr>
          <a:xfrm>
            <a:off x="2562401" y="637033"/>
            <a:ext cx="7048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u="sng" dirty="0"/>
              <a:t>A Simplified Data Model, Showing connections between entities in the data</a:t>
            </a:r>
          </a:p>
        </p:txBody>
      </p:sp>
    </p:spTree>
    <p:extLst>
      <p:ext uri="{BB962C8B-B14F-4D97-AF65-F5344CB8AC3E}">
        <p14:creationId xmlns:p14="http://schemas.microsoft.com/office/powerpoint/2010/main" val="42249150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8578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6mVmWGCbTl3wVAwL.G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R99_FeSA7h0a8nl75E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plet">
  <a:themeElements>
    <a:clrScheme name="Droplet">
      <a:dk1>
        <a:sysClr val="windowText" lastClr="000000"/>
      </a:dk1>
      <a:lt1>
        <a:sysClr val="window" lastClr="FFFFFF"/>
      </a:lt1>
      <a:dk2>
        <a:srgbClr val="355071"/>
      </a:dk2>
      <a:lt2>
        <a:srgbClr val="AABED7"/>
      </a:lt2>
      <a:accent1>
        <a:srgbClr val="2FA3EE"/>
      </a:accent1>
      <a:accent2>
        <a:srgbClr val="4BCAAD"/>
      </a:accent2>
      <a:accent3>
        <a:srgbClr val="86C157"/>
      </a:accent3>
      <a:accent4>
        <a:srgbClr val="D99C3F"/>
      </a:accent4>
      <a:accent5>
        <a:srgbClr val="CE6633"/>
      </a:accent5>
      <a:accent6>
        <a:srgbClr val="A35DD1"/>
      </a:accent6>
      <a:hlink>
        <a:srgbClr val="56BCFE"/>
      </a:hlink>
      <a:folHlink>
        <a:srgbClr val="97C5E3"/>
      </a:folHlink>
    </a:clrScheme>
    <a:fontScheme name="Drople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A633B6A3-9E7F-4C10-9C98-2517A313436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roplet</Template>
  <TotalTime>53</TotalTime>
  <Words>317</Words>
  <Application>Microsoft Macintosh PowerPoint</Application>
  <PresentationFormat>Widescreen</PresentationFormat>
  <Paragraphs>5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Tw Cen MT</vt:lpstr>
      <vt:lpstr>Droplet</vt:lpstr>
      <vt:lpstr>think-cell Slide</vt:lpstr>
      <vt:lpstr>Case study of FDA Data</vt:lpstr>
      <vt:lpstr>Objectives</vt:lpstr>
      <vt:lpstr>Approach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study of FDA Data</dc:title>
  <dc:creator>Bhima Auro</dc:creator>
  <cp:lastModifiedBy>Bhima Auro</cp:lastModifiedBy>
  <cp:revision>7</cp:revision>
  <dcterms:created xsi:type="dcterms:W3CDTF">2020-05-12T11:06:07Z</dcterms:created>
  <dcterms:modified xsi:type="dcterms:W3CDTF">2020-05-12T11:59:29Z</dcterms:modified>
</cp:coreProperties>
</file>